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1944" r:id="rId2"/>
    <p:sldId id="1943" r:id="rId3"/>
    <p:sldId id="1946" r:id="rId4"/>
    <p:sldId id="1945" r:id="rId5"/>
  </p:sldIdLst>
  <p:sldSz cx="9144000" cy="6858000" type="screen4x3"/>
  <p:notesSz cx="6858000" cy="9661525"/>
  <p:custShowLst>
    <p:custShow name="Mustermann1" id="0">
      <p:sldLst/>
    </p:custShow>
  </p:custShowLst>
  <p:custDataLst>
    <p:tags r:id="rId8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45" autoAdjust="0"/>
    <p:restoredTop sz="94626" autoAdjust="0"/>
  </p:normalViewPr>
  <p:slideViewPr>
    <p:cSldViewPr snapToGrid="0" showGuides="1">
      <p:cViewPr varScale="1">
        <p:scale>
          <a:sx n="105" d="100"/>
          <a:sy n="105" d="100"/>
        </p:scale>
        <p:origin x="1404" y="9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897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#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B2331E4-4F67-454B-888C-9BB79CF6C6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005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B2331E4-4F67-454B-888C-9BB79CF6C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46BBD7AE-88FF-224A-8696-365ADDCC28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en-GB" sz="2400" b="1" u="none" strike="noStrike" cap="none" normalizeH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6A0BFC-89E4-9E41-9E2A-73DC9B95255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In this Presentation, we will …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8D85132-04D1-7F46-A4AF-02DDEAEA9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eam Process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D289530-F87B-864C-B74B-940411A7DA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Introduction: Example</a:t>
            </a:r>
          </a:p>
        </p:txBody>
      </p:sp>
    </p:spTree>
    <p:extLst>
      <p:ext uri="{BB962C8B-B14F-4D97-AF65-F5344CB8AC3E}">
        <p14:creationId xmlns:p14="http://schemas.microsoft.com/office/powerpoint/2010/main" val="928857652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99712D78-C5E0-7D8E-27E0-B588E3E7E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/>
          <a:lstStyle/>
          <a:p>
            <a:r>
              <a:rPr lang="de-DE" dirty="0"/>
              <a:t>Kappa Architectu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D33197-79E1-8A2D-C3F0-FD430709DA2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742837"/>
            <a:ext cx="8064499" cy="3749991"/>
          </a:xfrm>
          <a:prstGeom prst="rect">
            <a:avLst/>
          </a:prstGeom>
          <a:noFill/>
        </p:spPr>
      </p:pic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995106A9-44B5-0237-6AC8-16D7D44CA91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86541" y="5818708"/>
            <a:ext cx="7350546" cy="292162"/>
          </a:xfrm>
        </p:spPr>
        <p:txBody>
          <a:bodyPr/>
          <a:lstStyle/>
          <a:p>
            <a:r>
              <a:rPr lang="en-US" dirty="0"/>
              <a:t>Feick, Martin, Niko </a:t>
            </a:r>
            <a:r>
              <a:rPr lang="en-US" dirty="0" err="1"/>
              <a:t>Kleer</a:t>
            </a:r>
            <a:r>
              <a:rPr lang="en-US" dirty="0"/>
              <a:t>, and Marek Kohn. "Fundamentals of real-time data processing architectures lambda and kappa.“</a:t>
            </a:r>
            <a:br>
              <a:rPr lang="en-US" dirty="0"/>
            </a:br>
            <a:r>
              <a:rPr lang="en-US" dirty="0" err="1"/>
              <a:t>Owczarek</a:t>
            </a:r>
            <a:r>
              <a:rPr lang="en-US" dirty="0"/>
              <a:t>. “Lambda vs. Kappa Architecture.” URL: https://nexocode.com/blog/posts/lambda-vs-kappa-architecture/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1643580-18A5-4F84-8C6E-10C423A06E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/>
          <a:lstStyle/>
          <a:p>
            <a:r>
              <a:rPr lang="de-DE" dirty="0" err="1"/>
              <a:t>Everyth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tream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96954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dirty="0"/>
              <a:t>1. </a:t>
            </a:r>
            <a:r>
              <a:rPr lang="en-US" sz="1200" dirty="0" err="1"/>
              <a:t>Hueske</a:t>
            </a:r>
            <a:r>
              <a:rPr lang="en-US" sz="1200" dirty="0"/>
              <a:t>, F., &amp; </a:t>
            </a:r>
            <a:r>
              <a:rPr lang="en-US" sz="1200" dirty="0" err="1"/>
              <a:t>Kalavri</a:t>
            </a:r>
            <a:r>
              <a:rPr lang="en-US" sz="1200" dirty="0"/>
              <a:t>, V. (2019). Stream Processing with Apache </a:t>
            </a:r>
            <a:r>
              <a:rPr lang="en-US" sz="1200" dirty="0" err="1"/>
              <a:t>Flink</a:t>
            </a:r>
            <a:r>
              <a:rPr lang="en-US" sz="1200" dirty="0"/>
              <a:t> Fundamentals, Implementation, and Operation of Streaming Applications. O’Reilly Media.</a:t>
            </a:r>
          </a:p>
          <a:p>
            <a:endParaRPr lang="de-DE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RvQGdmPOx15SKgIX1Ujg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25F4E23-4BA2-4D5B-9D0A-C360A682EFF5}">
  <we:reference id="wa200000113" version="1.0.0.0" store="en-US" storeType="OMEX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107</Words>
  <Application>Microsoft Office PowerPoint</Application>
  <PresentationFormat>On-screen Show (4:3)</PresentationFormat>
  <Paragraphs>11</Paragraphs>
  <Slides>4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  <vt:variant>
        <vt:lpstr>Custom Shows</vt:lpstr>
      </vt:variant>
      <vt:variant>
        <vt:i4>1</vt:i4>
      </vt:variant>
    </vt:vector>
  </HeadingPairs>
  <TitlesOfParts>
    <vt:vector size="11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Stream Processing</vt:lpstr>
      <vt:lpstr>Kappa Architecture</vt:lpstr>
      <vt:lpstr>Literatur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ladislav Stasenko</cp:lastModifiedBy>
  <cp:revision>486</cp:revision>
  <cp:lastPrinted>2010-04-29T14:30:22Z</cp:lastPrinted>
  <dcterms:created xsi:type="dcterms:W3CDTF">2010-04-29T12:39:23Z</dcterms:created>
  <dcterms:modified xsi:type="dcterms:W3CDTF">2023-06-04T09:57:38Z</dcterms:modified>
</cp:coreProperties>
</file>